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778" r:id="rId5"/>
  </p:sldMasterIdLst>
  <p:notesMasterIdLst>
    <p:notesMasterId r:id="rId15"/>
  </p:notesMasterIdLst>
  <p:handoutMasterIdLst>
    <p:handoutMasterId r:id="rId16"/>
  </p:handoutMasterIdLst>
  <p:sldIdLst>
    <p:sldId id="1405" r:id="rId6"/>
    <p:sldId id="1417" r:id="rId7"/>
    <p:sldId id="1394" r:id="rId8"/>
    <p:sldId id="1416" r:id="rId9"/>
    <p:sldId id="1362" r:id="rId10"/>
    <p:sldId id="1413" r:id="rId11"/>
    <p:sldId id="1409" r:id="rId12"/>
    <p:sldId id="1412" r:id="rId13"/>
    <p:sldId id="1408" r:id="rId14"/>
  </p:sldIdLst>
  <p:sldSz cx="9144000" cy="5143500" type="screen16x9"/>
  <p:notesSz cx="6797675" cy="9926638"/>
  <p:custDataLst>
    <p:tags r:id="rId17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 userDrawn="1">
          <p15:clr>
            <a:srgbClr val="A4A3A4"/>
          </p15:clr>
        </p15:guide>
        <p15:guide id="2" pos="204">
          <p15:clr>
            <a:srgbClr val="A4A3A4"/>
          </p15:clr>
        </p15:guide>
        <p15:guide id="3" orient="horz" pos="872" userDrawn="1">
          <p15:clr>
            <a:srgbClr val="A4A3A4"/>
          </p15:clr>
        </p15:guide>
        <p15:guide id="4" orient="horz" pos="758" userDrawn="1">
          <p15:clr>
            <a:srgbClr val="A4A3A4"/>
          </p15:clr>
        </p15:guide>
        <p15:guide id="5" orient="horz" pos="259" userDrawn="1">
          <p15:clr>
            <a:srgbClr val="A4A3A4"/>
          </p15:clr>
        </p15:guide>
        <p15:guide id="6" pos="317" userDrawn="1">
          <p15:clr>
            <a:srgbClr val="A4A3A4"/>
          </p15:clr>
        </p15:guide>
        <p15:guide id="7" pos="5556" userDrawn="1">
          <p15:clr>
            <a:srgbClr val="A4A3A4"/>
          </p15:clr>
        </p15:guide>
        <p15:guide id="8" orient="horz" pos="2323" userDrawn="1">
          <p15:clr>
            <a:srgbClr val="A4A3A4"/>
          </p15:clr>
        </p15:guide>
        <p15:guide id="9" pos="35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or" initials="A" lastIdx="96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2D74"/>
    <a:srgbClr val="005977"/>
    <a:srgbClr val="00718E"/>
    <a:srgbClr val="EF7F00"/>
    <a:srgbClr val="F8841D"/>
    <a:srgbClr val="E60007"/>
    <a:srgbClr val="000099"/>
    <a:srgbClr val="73D3C0"/>
    <a:srgbClr val="C6C6C6"/>
    <a:srgbClr val="6EBF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Styl z motywem 1 — Ak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Styl pośredni 1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202B0CA-FC54-4496-8BCA-5EF66A818D29}" styleName="Styl ciemny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Bez stylu, bez siatki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27102A9-8310-4765-A935-A1911B00CA55}" styleName="Styl jasny 1 — Ak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3B4B98B0-60AC-42C2-AFA5-B58CD77FA1E5}" styleName="Styl jasny 1 — Ak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Styl pośredni 3 — Ak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yl pośredni 3 — Ak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Styl jasny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788" autoAdjust="0"/>
    <p:restoredTop sz="93800" autoAdjust="0"/>
  </p:normalViewPr>
  <p:slideViewPr>
    <p:cSldViewPr>
      <p:cViewPr varScale="1">
        <p:scale>
          <a:sx n="67" d="100"/>
          <a:sy n="67" d="100"/>
        </p:scale>
        <p:origin x="77" y="120"/>
      </p:cViewPr>
      <p:guideLst>
        <p:guide orient="horz" pos="3072"/>
        <p:guide pos="204"/>
        <p:guide orient="horz" pos="872"/>
        <p:guide orient="horz" pos="758"/>
        <p:guide orient="horz" pos="259"/>
        <p:guide pos="317"/>
        <p:guide pos="5556"/>
        <p:guide orient="horz" pos="2323"/>
        <p:guide pos="35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0" d="100"/>
          <a:sy n="90" d="100"/>
        </p:scale>
        <p:origin x="3714" y="90"/>
      </p:cViewPr>
      <p:guideLst>
        <p:guide orient="horz" pos="3127"/>
        <p:guide pos="214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49689" y="0"/>
            <a:ext cx="2946400" cy="496888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8C965994-A83A-47D1-9236-C52C0E2801D7}" type="datetimeFigureOut">
              <a:rPr lang="pl-PL" smtClean="0"/>
              <a:t>2021-06-17</a:t>
            </a:fld>
            <a:endParaRPr lang="pl-PL" dirty="0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49689" y="9429750"/>
            <a:ext cx="2946400" cy="496888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58854B4C-A9CC-46D7-870E-3AFB5EC3A466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477742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45658" cy="496332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0446" y="0"/>
            <a:ext cx="2945658" cy="496332"/>
          </a:xfrm>
          <a:prstGeom prst="rect">
            <a:avLst/>
          </a:prstGeom>
        </p:spPr>
        <p:txBody>
          <a:bodyPr vert="horz" lIns="91430" tIns="45715" rIns="91430" bIns="45715" rtlCol="0"/>
          <a:lstStyle>
            <a:lvl1pPr algn="r">
              <a:defRPr sz="1200"/>
            </a:lvl1pPr>
          </a:lstStyle>
          <a:p>
            <a:fld id="{AA59789F-CF6F-4B65-9861-68D135AFE7C3}" type="datetimeFigureOut">
              <a:rPr lang="pl-PL" smtClean="0"/>
              <a:t>2021-06-17</a:t>
            </a:fld>
            <a:endParaRPr lang="pl-PL" dirty="0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2950"/>
            <a:ext cx="6623050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5" rIns="91430" bIns="45715" rtlCol="0" anchor="ctr"/>
          <a:lstStyle/>
          <a:p>
            <a:endParaRPr lang="pl-PL" dirty="0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769" y="4715154"/>
            <a:ext cx="5438139" cy="4466987"/>
          </a:xfrm>
          <a:prstGeom prst="rect">
            <a:avLst/>
          </a:prstGeom>
        </p:spPr>
        <p:txBody>
          <a:bodyPr vert="horz" lIns="91430" tIns="45715" rIns="91430" bIns="45715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5" y="9428584"/>
            <a:ext cx="2945658" cy="496332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l">
              <a:defRPr sz="1200"/>
            </a:lvl1pPr>
          </a:lstStyle>
          <a:p>
            <a:endParaRPr lang="pl-PL" dirty="0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0446" y="9428584"/>
            <a:ext cx="2945658" cy="496332"/>
          </a:xfrm>
          <a:prstGeom prst="rect">
            <a:avLst/>
          </a:prstGeom>
        </p:spPr>
        <p:txBody>
          <a:bodyPr vert="horz" lIns="91430" tIns="45715" rIns="91430" bIns="45715" rtlCol="0" anchor="b"/>
          <a:lstStyle>
            <a:lvl1pPr algn="r">
              <a:defRPr sz="1200"/>
            </a:lvl1pPr>
          </a:lstStyle>
          <a:p>
            <a:fld id="{F30B5087-55CE-4D55-B0A8-19EDD5CC888F}" type="slidenum">
              <a:rPr lang="pl-PL" smtClean="0"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36585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8">
              <a:defRPr/>
            </a:pPr>
            <a:fld id="{F07B8F03-BC93-4120-96CA-A36DF640BE24}" type="slidenum">
              <a:rPr lang="en-GB">
                <a:solidFill>
                  <a:prstClr val="black"/>
                </a:solidFill>
                <a:latin typeface="Calibri"/>
              </a:rPr>
              <a:pPr defTabSz="914308">
                <a:defRPr/>
              </a:pPr>
              <a:t>2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6638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B5087-55CE-4D55-B0A8-19EDD5CC888F}" type="slidenum">
              <a:rPr lang="pl-PL" smtClean="0"/>
              <a:t>3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1356647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B5087-55CE-4D55-B0A8-19EDD5CC888F}" type="slidenum">
              <a:rPr lang="pl-PL" smtClean="0"/>
              <a:t>4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1253188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8">
              <a:defRPr/>
            </a:pPr>
            <a:fld id="{F07B8F03-BC93-4120-96CA-A36DF640BE24}" type="slidenum">
              <a:rPr lang="en-GB">
                <a:solidFill>
                  <a:prstClr val="black"/>
                </a:solidFill>
                <a:latin typeface="Calibri"/>
              </a:rPr>
              <a:pPr defTabSz="914308">
                <a:defRPr/>
              </a:pPr>
              <a:t>5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689584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B5087-55CE-4D55-B0A8-19EDD5CC888F}" type="slidenum">
              <a:rPr lang="pl-PL" smtClean="0"/>
              <a:t>6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901880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14308">
              <a:defRPr/>
            </a:pPr>
            <a:fld id="{F07B8F03-BC93-4120-96CA-A36DF640BE24}" type="slidenum">
              <a:rPr lang="en-GB">
                <a:solidFill>
                  <a:prstClr val="black"/>
                </a:solidFill>
                <a:latin typeface="Calibri"/>
              </a:rPr>
              <a:pPr defTabSz="914308">
                <a:defRPr/>
              </a:pPr>
              <a:t>7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371137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0B5087-55CE-4D55-B0A8-19EDD5CC888F}" type="slidenum">
              <a:rPr lang="pl-PL" smtClean="0"/>
              <a:t>8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6012393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iff"/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iff"/><Relationship Id="rId3" Type="http://schemas.openxmlformats.org/officeDocument/2006/relationships/tags" Target="../tags/tag8.xml"/><Relationship Id="rId7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4" name="Symbol zastępczy numeru slajdu 4"/>
          <p:cNvSpPr txBox="1">
            <a:spLocks/>
          </p:cNvSpPr>
          <p:nvPr userDrawn="1"/>
        </p:nvSpPr>
        <p:spPr>
          <a:xfrm>
            <a:off x="6963035" y="46225"/>
            <a:ext cx="2133600" cy="17003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pl-PL"/>
            </a:defPPr>
            <a:lvl1pPr marL="0" algn="l" defTabSz="914400" rtl="0" eaLnBrk="1" latinLnBrk="0" hangingPunct="1">
              <a:defRPr sz="1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ONA | </a:t>
            </a:r>
            <a:fld id="{BEF91EA0-6FBA-4517-995F-24EA77D96559}" type="slidenum">
              <a:rPr lang="pl-PL" sz="7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pl-PL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08108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431494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6804746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dtytuł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i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-1" y="173065"/>
            <a:ext cx="489859" cy="333722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59000">
                <a:schemeClr val="tx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  <p:pic>
        <p:nvPicPr>
          <p:cNvPr id="10" name="Obraz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4815435"/>
            <a:ext cx="9143997" cy="350066"/>
          </a:xfrm>
          <a:prstGeom prst="rect">
            <a:avLst/>
          </a:prstGeom>
        </p:spPr>
      </p:pic>
      <p:sp>
        <p:nvSpPr>
          <p:cNvPr id="11" name="Prostokąt 10"/>
          <p:cNvSpPr/>
          <p:nvPr userDrawn="1"/>
        </p:nvSpPr>
        <p:spPr>
          <a:xfrm>
            <a:off x="-2209" y="4803600"/>
            <a:ext cx="9144002" cy="361346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0">
                <a:schemeClr val="bg2"/>
              </a:gs>
              <a:gs pos="42000">
                <a:schemeClr val="bg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350" dirty="0"/>
          </a:p>
        </p:txBody>
      </p:sp>
      <p:sp>
        <p:nvSpPr>
          <p:cNvPr id="12" name="Prostokąt 11"/>
          <p:cNvSpPr/>
          <p:nvPr userDrawn="1"/>
        </p:nvSpPr>
        <p:spPr>
          <a:xfrm>
            <a:off x="0" y="4815435"/>
            <a:ext cx="914399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1500" b="1" dirty="0"/>
              <a:t>MARKET UPDATE</a:t>
            </a:r>
          </a:p>
        </p:txBody>
      </p:sp>
    </p:spTree>
    <p:extLst>
      <p:ext uri="{BB962C8B-B14F-4D97-AF65-F5344CB8AC3E}">
        <p14:creationId xmlns:p14="http://schemas.microsoft.com/office/powerpoint/2010/main" val="17739123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01939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odtytuł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i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-1" y="173065"/>
            <a:ext cx="489859" cy="333722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59000">
                <a:schemeClr val="tx1"/>
              </a:gs>
              <a:gs pos="100000">
                <a:schemeClr val="bg2"/>
              </a:gs>
            </a:gsLst>
            <a:lin ang="10800000" scaled="1"/>
            <a:tileRect/>
          </a:gradFill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FE4C2C7C-400C-42CC-8997-464A70F4A682}" type="slidenum">
              <a:rPr lang="pl-PL" smtClean="0"/>
              <a:pPr/>
              <a:t>‹#›</a:t>
            </a:fld>
            <a:endParaRPr lang="pl-PL" dirty="0"/>
          </a:p>
        </p:txBody>
      </p:sp>
      <p:pic>
        <p:nvPicPr>
          <p:cNvPr id="10" name="Obraz 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4815435"/>
            <a:ext cx="9143997" cy="350066"/>
          </a:xfrm>
          <a:prstGeom prst="rect">
            <a:avLst/>
          </a:prstGeom>
        </p:spPr>
      </p:pic>
      <p:sp>
        <p:nvSpPr>
          <p:cNvPr id="11" name="Prostokąt 10"/>
          <p:cNvSpPr/>
          <p:nvPr userDrawn="1"/>
        </p:nvSpPr>
        <p:spPr>
          <a:xfrm>
            <a:off x="-2209" y="4803600"/>
            <a:ext cx="9144002" cy="361346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0">
                <a:schemeClr val="bg2"/>
              </a:gs>
              <a:gs pos="42000">
                <a:schemeClr val="bg2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350" dirty="0"/>
          </a:p>
        </p:txBody>
      </p:sp>
      <p:sp>
        <p:nvSpPr>
          <p:cNvPr id="12" name="Prostokąt 11"/>
          <p:cNvSpPr/>
          <p:nvPr userDrawn="1"/>
        </p:nvSpPr>
        <p:spPr>
          <a:xfrm>
            <a:off x="0" y="4815435"/>
            <a:ext cx="9143998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1500" b="1" dirty="0"/>
              <a:t>MARKET UPDATE</a:t>
            </a:r>
          </a:p>
        </p:txBody>
      </p:sp>
    </p:spTree>
    <p:extLst>
      <p:ext uri="{BB962C8B-B14F-4D97-AF65-F5344CB8AC3E}">
        <p14:creationId xmlns:p14="http://schemas.microsoft.com/office/powerpoint/2010/main" val="3806368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tuł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i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1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17" b="15574"/>
          <a:stretch/>
        </p:blipFill>
        <p:spPr>
          <a:xfrm>
            <a:off x="0" y="1653648"/>
            <a:ext cx="9144000" cy="3489852"/>
          </a:xfrm>
          <a:prstGeom prst="rect">
            <a:avLst/>
          </a:prstGeom>
        </p:spPr>
      </p:pic>
      <p:sp>
        <p:nvSpPr>
          <p:cNvPr id="11" name="Prostokąt 10"/>
          <p:cNvSpPr/>
          <p:nvPr userDrawn="1"/>
        </p:nvSpPr>
        <p:spPr>
          <a:xfrm>
            <a:off x="3" y="1878"/>
            <a:ext cx="9143999" cy="4352071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350" dirty="0"/>
          </a:p>
        </p:txBody>
      </p:sp>
      <p:sp>
        <p:nvSpPr>
          <p:cNvPr id="34" name="Tytuł 1"/>
          <p:cNvSpPr>
            <a:spLocks noGrp="1"/>
          </p:cNvSpPr>
          <p:nvPr>
            <p:ph type="ctrTitle" hasCustomPrompt="1"/>
          </p:nvPr>
        </p:nvSpPr>
        <p:spPr>
          <a:xfrm>
            <a:off x="2843808" y="1544594"/>
            <a:ext cx="6300192" cy="759384"/>
          </a:xfrm>
          <a:solidFill>
            <a:schemeClr val="bg1"/>
          </a:solidFill>
        </p:spPr>
        <p:txBody>
          <a:bodyPr lIns="216000" tIns="216000" rIns="1080000" bIns="216000" anchor="b" anchorCtr="0">
            <a:spAutoFit/>
          </a:bodyPr>
          <a:lstStyle>
            <a:lvl1pPr marL="0">
              <a:spcBef>
                <a:spcPts val="450"/>
              </a:spcBef>
              <a:defRPr sz="2100" b="1" i="0" baseline="0">
                <a:solidFill>
                  <a:schemeClr val="tx1"/>
                </a:solidFill>
              </a:defRPr>
            </a:lvl1pPr>
          </a:lstStyle>
          <a:p>
            <a:r>
              <a:rPr lang="pl-PL" dirty="0"/>
              <a:t>Tytuł prezentacji</a:t>
            </a:r>
          </a:p>
        </p:txBody>
      </p:sp>
      <p:sp>
        <p:nvSpPr>
          <p:cNvPr id="35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2843808" y="2383956"/>
            <a:ext cx="6300192" cy="620885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lIns="216000" tIns="216000" rIns="1080000" bIns="216000" anchor="t" anchorCtr="0">
            <a:spAutoFit/>
          </a:bodyPr>
          <a:lstStyle>
            <a:lvl1pPr marL="0" indent="0" algn="l">
              <a:spcBef>
                <a:spcPts val="450"/>
              </a:spcBef>
              <a:buNone/>
              <a:defRPr sz="1200" b="0" i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/>
              <a:t>Opis tytułu</a:t>
            </a:r>
          </a:p>
        </p:txBody>
      </p:sp>
      <p:pic>
        <p:nvPicPr>
          <p:cNvPr id="5" name="Obraz 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27534"/>
            <a:ext cx="1728192" cy="228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656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ziękuję za uwagę V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191"/>
          <a:ext cx="1588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i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191"/>
                        <a:ext cx="1588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pl-PL" sz="21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pic>
        <p:nvPicPr>
          <p:cNvPr id="14" name="Obraz 1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17" b="15574"/>
          <a:stretch/>
        </p:blipFill>
        <p:spPr>
          <a:xfrm>
            <a:off x="0" y="1653648"/>
            <a:ext cx="9144000" cy="3489852"/>
          </a:xfrm>
          <a:prstGeom prst="rect">
            <a:avLst/>
          </a:prstGeom>
        </p:spPr>
      </p:pic>
      <p:sp>
        <p:nvSpPr>
          <p:cNvPr id="9" name="Prostokąt 8"/>
          <p:cNvSpPr/>
          <p:nvPr userDrawn="1"/>
        </p:nvSpPr>
        <p:spPr>
          <a:xfrm>
            <a:off x="3" y="1878"/>
            <a:ext cx="9143999" cy="4352071"/>
          </a:xfrm>
          <a:prstGeom prst="rect">
            <a:avLst/>
          </a:prstGeom>
          <a:gradFill>
            <a:gsLst>
              <a:gs pos="0">
                <a:schemeClr val="bg2"/>
              </a:gs>
              <a:gs pos="34000">
                <a:schemeClr val="bg2"/>
              </a:gs>
              <a:gs pos="100000">
                <a:schemeClr val="bg2">
                  <a:alpha val="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350" dirty="0"/>
          </a:p>
        </p:txBody>
      </p:sp>
      <p:sp>
        <p:nvSpPr>
          <p:cNvPr id="34" name="Tytuł 1"/>
          <p:cNvSpPr>
            <a:spLocks noGrp="1"/>
          </p:cNvSpPr>
          <p:nvPr>
            <p:ph type="ctrTitle" hasCustomPrompt="1"/>
          </p:nvPr>
        </p:nvSpPr>
        <p:spPr>
          <a:xfrm>
            <a:off x="2843808" y="1544594"/>
            <a:ext cx="6300192" cy="759384"/>
          </a:xfrm>
          <a:solidFill>
            <a:schemeClr val="bg1"/>
          </a:solidFill>
        </p:spPr>
        <p:txBody>
          <a:bodyPr lIns="216000" tIns="216000" rIns="1080000" bIns="216000" anchor="b" anchorCtr="0">
            <a:spAutoFit/>
          </a:bodyPr>
          <a:lstStyle>
            <a:lvl1pPr marL="0">
              <a:spcBef>
                <a:spcPts val="450"/>
              </a:spcBef>
              <a:defRPr sz="2100" b="1" i="0" baseline="0">
                <a:solidFill>
                  <a:schemeClr val="tx1"/>
                </a:solidFill>
              </a:defRPr>
            </a:lvl1pPr>
          </a:lstStyle>
          <a:p>
            <a:r>
              <a:rPr lang="pl-PL" dirty="0"/>
              <a:t>Dziękuję za uwagę</a:t>
            </a:r>
          </a:p>
        </p:txBody>
      </p:sp>
      <p:pic>
        <p:nvPicPr>
          <p:cNvPr id="17" name="Obraz 1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27534"/>
            <a:ext cx="1728192" cy="228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5977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6200" y="1582103"/>
            <a:ext cx="3520440" cy="1988582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2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0"/>
            <a:ext cx="3429000" cy="51435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572734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GEBaltica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3095836" y="1113284"/>
            <a:ext cx="3875158" cy="1314450"/>
          </a:xfrm>
        </p:spPr>
        <p:txBody>
          <a:bodyPr anchor="ctr" anchorCtr="0"/>
          <a:lstStyle>
            <a:lvl1pPr marL="0" indent="0" algn="l">
              <a:buNone/>
              <a:defRPr sz="24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 err="1"/>
              <a:t>Lorem</a:t>
            </a:r>
            <a:r>
              <a:rPr lang="pl-PL" dirty="0"/>
              <a:t> </a:t>
            </a:r>
            <a:r>
              <a:rPr lang="pl-PL" dirty="0" err="1"/>
              <a:t>ipsum</a:t>
            </a:r>
            <a:r>
              <a:rPr lang="pl-PL" dirty="0"/>
              <a:t> </a:t>
            </a:r>
            <a:r>
              <a:rPr lang="pl-PL" dirty="0" err="1"/>
              <a:t>dolor</a:t>
            </a:r>
            <a:r>
              <a:rPr lang="pl-PL" dirty="0"/>
              <a:t> </a:t>
            </a:r>
            <a:br>
              <a:rPr lang="pl-PL" dirty="0"/>
            </a:br>
            <a:r>
              <a:rPr lang="pl-PL" dirty="0"/>
              <a:t>sit </a:t>
            </a:r>
            <a:r>
              <a:rPr lang="pl-PL" dirty="0" err="1"/>
              <a:t>amet</a:t>
            </a:r>
            <a:r>
              <a:rPr lang="pl-PL" dirty="0"/>
              <a:t>, </a:t>
            </a:r>
            <a:r>
              <a:rPr lang="pl-PL" dirty="0" err="1"/>
              <a:t>consectetur</a:t>
            </a:r>
            <a:r>
              <a:rPr lang="pl-PL" dirty="0"/>
              <a:t> </a:t>
            </a:r>
            <a:r>
              <a:rPr lang="pl-PL" dirty="0" err="1"/>
              <a:t>adipiscing</a:t>
            </a:r>
            <a:r>
              <a:rPr lang="pl-PL" dirty="0"/>
              <a:t> elit</a:t>
            </a:r>
          </a:p>
        </p:txBody>
      </p:sp>
      <p:sp>
        <p:nvSpPr>
          <p:cNvPr id="4" name="Symbol zastępczy numeru slajdu 4"/>
          <p:cNvSpPr txBox="1">
            <a:spLocks/>
          </p:cNvSpPr>
          <p:nvPr userDrawn="1"/>
        </p:nvSpPr>
        <p:spPr>
          <a:xfrm>
            <a:off x="6963035" y="46225"/>
            <a:ext cx="2133600" cy="17003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pl-PL"/>
            </a:defPPr>
            <a:lvl1pPr marL="0" algn="l" defTabSz="914400" rtl="0" eaLnBrk="1" latinLnBrk="0" hangingPunct="1">
              <a:defRPr sz="1000" kern="1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700" dirty="0">
                <a:solidFill>
                  <a:schemeClr val="accent5"/>
                </a:solidFill>
              </a:rPr>
              <a:t>STRONA | </a:t>
            </a:r>
            <a:fld id="{BEF91EA0-6FBA-4517-995F-24EA77D96559}" type="slidenum">
              <a:rPr lang="pl-PL" sz="700" smtClean="0">
                <a:solidFill>
                  <a:schemeClr val="accent5"/>
                </a:solidFill>
              </a:rPr>
              <a:pPr algn="r"/>
              <a:t>‹#›</a:t>
            </a:fld>
            <a:endParaRPr lang="pl-PL" sz="700" dirty="0">
              <a:solidFill>
                <a:schemeClr val="accent5"/>
              </a:solidFill>
            </a:endParaRPr>
          </a:p>
        </p:txBody>
      </p:sp>
      <p:sp>
        <p:nvSpPr>
          <p:cNvPr id="6" name="Elipsa 6"/>
          <p:cNvSpPr/>
          <p:nvPr userDrawn="1"/>
        </p:nvSpPr>
        <p:spPr>
          <a:xfrm>
            <a:off x="694555" y="375507"/>
            <a:ext cx="2221262" cy="4448000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7317">
                <a:moveTo>
                  <a:pt x="327" y="368519"/>
                </a:moveTo>
                <a:cubicBezTo>
                  <a:pt x="-584" y="284152"/>
                  <a:pt x="739" y="153556"/>
                  <a:pt x="327" y="8799"/>
                </a:cubicBezTo>
                <a:cubicBezTo>
                  <a:pt x="205" y="-34225"/>
                  <a:pt x="185497" y="89325"/>
                  <a:pt x="185497" y="188659"/>
                </a:cubicBezTo>
                <a:cubicBezTo>
                  <a:pt x="185497" y="287993"/>
                  <a:pt x="792" y="411540"/>
                  <a:pt x="327" y="368519"/>
                </a:cubicBezTo>
                <a:close/>
              </a:path>
            </a:pathLst>
          </a:custGeom>
          <a:solidFill>
            <a:srgbClr val="092D74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cxnSp>
        <p:nvCxnSpPr>
          <p:cNvPr id="7" name="Łącznik prostoliniowy 5"/>
          <p:cNvCxnSpPr/>
          <p:nvPr userDrawn="1"/>
        </p:nvCxnSpPr>
        <p:spPr>
          <a:xfrm>
            <a:off x="3203848" y="2571750"/>
            <a:ext cx="5364596" cy="0"/>
          </a:xfrm>
          <a:prstGeom prst="line">
            <a:avLst/>
          </a:prstGeom>
          <a:ln w="19050">
            <a:solidFill>
              <a:srgbClr val="0037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2260" y="1970283"/>
            <a:ext cx="1776709" cy="529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Obraz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89" y="125335"/>
            <a:ext cx="2527961" cy="4890992"/>
          </a:xfrm>
          <a:prstGeom prst="rect">
            <a:avLst/>
          </a:prstGeom>
        </p:spPr>
      </p:pic>
      <p:sp>
        <p:nvSpPr>
          <p:cNvPr id="10" name="Symbol zastępczy tekstu 9"/>
          <p:cNvSpPr>
            <a:spLocks noGrp="1"/>
          </p:cNvSpPr>
          <p:nvPr>
            <p:ph type="body" sz="quarter" idx="10" hasCustomPrompt="1"/>
          </p:nvPr>
        </p:nvSpPr>
        <p:spPr>
          <a:xfrm>
            <a:off x="3095836" y="2771762"/>
            <a:ext cx="3875158" cy="700088"/>
          </a:xfrm>
        </p:spPr>
        <p:txBody>
          <a:bodyPr>
            <a:noAutofit/>
          </a:bodyPr>
          <a:lstStyle>
            <a:lvl1pPr>
              <a:defRPr sz="1600" b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pl-PL" dirty="0"/>
              <a:t>Warszawa, listopad 2020</a:t>
            </a:r>
          </a:p>
        </p:txBody>
      </p:sp>
    </p:spTree>
    <p:extLst>
      <p:ext uri="{BB962C8B-B14F-4D97-AF65-F5344CB8AC3E}">
        <p14:creationId xmlns:p14="http://schemas.microsoft.com/office/powerpoint/2010/main" val="30885943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a 6"/>
          <p:cNvSpPr/>
          <p:nvPr userDrawn="1"/>
        </p:nvSpPr>
        <p:spPr>
          <a:xfrm>
            <a:off x="90951" y="292981"/>
            <a:ext cx="228993" cy="417064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7317">
                <a:moveTo>
                  <a:pt x="327" y="368519"/>
                </a:moveTo>
                <a:cubicBezTo>
                  <a:pt x="-584" y="284152"/>
                  <a:pt x="739" y="153556"/>
                  <a:pt x="327" y="8799"/>
                </a:cubicBezTo>
                <a:cubicBezTo>
                  <a:pt x="205" y="-34225"/>
                  <a:pt x="185497" y="89325"/>
                  <a:pt x="185497" y="188659"/>
                </a:cubicBezTo>
                <a:cubicBezTo>
                  <a:pt x="185497" y="287993"/>
                  <a:pt x="792" y="411540"/>
                  <a:pt x="327" y="368519"/>
                </a:cubicBezTo>
                <a:close/>
              </a:path>
            </a:pathLst>
          </a:custGeom>
          <a:solidFill>
            <a:srgbClr val="092D74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31540" y="282413"/>
            <a:ext cx="8229600" cy="415498"/>
          </a:xfrm>
        </p:spPr>
        <p:txBody>
          <a:bodyPr>
            <a:spAutoFit/>
          </a:bodyPr>
          <a:lstStyle>
            <a:lvl1pPr>
              <a:defRPr sz="2100"/>
            </a:lvl1pPr>
          </a:lstStyle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431540" y="1167113"/>
            <a:ext cx="8229600" cy="3427509"/>
          </a:xfrm>
        </p:spPr>
        <p:txBody>
          <a:bodyPr>
            <a:noAutofit/>
          </a:bodyPr>
          <a:lstStyle>
            <a:lvl1pPr>
              <a:defRPr b="0">
                <a:solidFill>
                  <a:schemeClr val="tx1"/>
                </a:solidFill>
              </a:defRPr>
            </a:lvl1pPr>
            <a:lvl2pPr>
              <a:defRPr>
                <a:solidFill>
                  <a:schemeClr val="accent5">
                    <a:lumMod val="50000"/>
                  </a:schemeClr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accent5">
                    <a:lumMod val="50000"/>
                  </a:schemeClr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accent5">
                    <a:lumMod val="50000"/>
                  </a:schemeClr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accent5">
                    <a:lumMod val="50000"/>
                  </a:schemeClr>
                </a:solidFill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5" name="Elipsa 6"/>
          <p:cNvSpPr/>
          <p:nvPr userDrawn="1"/>
        </p:nvSpPr>
        <p:spPr>
          <a:xfrm>
            <a:off x="273" y="265979"/>
            <a:ext cx="257049" cy="471069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  <a:gd name="connsiteX0" fmla="*/ 327 w 185497"/>
              <a:gd name="connsiteY0" fmla="*/ 369690 h 379659"/>
              <a:gd name="connsiteX1" fmla="*/ 327 w 185497"/>
              <a:gd name="connsiteY1" fmla="*/ 9970 h 379659"/>
              <a:gd name="connsiteX2" fmla="*/ 185497 w 185497"/>
              <a:gd name="connsiteY2" fmla="*/ 189830 h 379659"/>
              <a:gd name="connsiteX3" fmla="*/ 327 w 185497"/>
              <a:gd name="connsiteY3" fmla="*/ 369690 h 379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9659">
                <a:moveTo>
                  <a:pt x="327" y="369690"/>
                </a:moveTo>
                <a:cubicBezTo>
                  <a:pt x="-584" y="285323"/>
                  <a:pt x="739" y="154727"/>
                  <a:pt x="327" y="9970"/>
                </a:cubicBezTo>
                <a:cubicBezTo>
                  <a:pt x="205" y="-33054"/>
                  <a:pt x="185497" y="69882"/>
                  <a:pt x="185497" y="189830"/>
                </a:cubicBezTo>
                <a:cubicBezTo>
                  <a:pt x="185497" y="309778"/>
                  <a:pt x="792" y="412711"/>
                  <a:pt x="327" y="369690"/>
                </a:cubicBezTo>
                <a:close/>
              </a:path>
            </a:pathLst>
          </a:custGeom>
          <a:solidFill>
            <a:srgbClr val="092D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9" name="Symbol zastępczy tekstu 8"/>
          <p:cNvSpPr>
            <a:spLocks noGrp="1"/>
          </p:cNvSpPr>
          <p:nvPr>
            <p:ph type="body" sz="quarter" idx="10"/>
          </p:nvPr>
        </p:nvSpPr>
        <p:spPr>
          <a:xfrm>
            <a:off x="431540" y="735546"/>
            <a:ext cx="8229600" cy="276999"/>
          </a:xfrm>
        </p:spPr>
        <p:txBody>
          <a:bodyPr>
            <a:spAutoFit/>
          </a:bodyPr>
          <a:lstStyle>
            <a:lvl1pPr>
              <a:defRPr b="0">
                <a:solidFill>
                  <a:schemeClr val="accent5">
                    <a:lumMod val="50000"/>
                  </a:schemeClr>
                </a:solidFill>
              </a:defRPr>
            </a:lvl1pPr>
            <a:lvl2pPr>
              <a:defRPr b="0">
                <a:solidFill>
                  <a:schemeClr val="accent5"/>
                </a:solidFill>
              </a:defRPr>
            </a:lvl2pPr>
            <a:lvl3pPr>
              <a:defRPr b="0">
                <a:solidFill>
                  <a:schemeClr val="accent5"/>
                </a:solidFill>
              </a:defRPr>
            </a:lvl3pPr>
            <a:lvl4pPr>
              <a:defRPr b="0">
                <a:solidFill>
                  <a:schemeClr val="accent5"/>
                </a:solidFill>
              </a:defRPr>
            </a:lvl4pPr>
            <a:lvl5pPr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pl-PL" dirty="0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6903117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ipsa 6"/>
          <p:cNvSpPr/>
          <p:nvPr userDrawn="1"/>
        </p:nvSpPr>
        <p:spPr>
          <a:xfrm>
            <a:off x="90951" y="292981"/>
            <a:ext cx="228993" cy="417064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7317">
                <a:moveTo>
                  <a:pt x="327" y="368519"/>
                </a:moveTo>
                <a:cubicBezTo>
                  <a:pt x="-584" y="284152"/>
                  <a:pt x="739" y="153556"/>
                  <a:pt x="327" y="8799"/>
                </a:cubicBezTo>
                <a:cubicBezTo>
                  <a:pt x="205" y="-34225"/>
                  <a:pt x="185497" y="89325"/>
                  <a:pt x="185497" y="188659"/>
                </a:cubicBezTo>
                <a:cubicBezTo>
                  <a:pt x="185497" y="287993"/>
                  <a:pt x="792" y="411540"/>
                  <a:pt x="327" y="368519"/>
                </a:cubicBezTo>
                <a:close/>
              </a:path>
            </a:pathLst>
          </a:custGeom>
          <a:solidFill>
            <a:srgbClr val="092D74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611560" y="210405"/>
            <a:ext cx="8229600" cy="857250"/>
          </a:xfr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" name="Elipsa 6"/>
          <p:cNvSpPr/>
          <p:nvPr userDrawn="1"/>
        </p:nvSpPr>
        <p:spPr>
          <a:xfrm>
            <a:off x="273" y="265979"/>
            <a:ext cx="257049" cy="471069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  <a:gd name="connsiteX0" fmla="*/ 327 w 185497"/>
              <a:gd name="connsiteY0" fmla="*/ 369690 h 379659"/>
              <a:gd name="connsiteX1" fmla="*/ 327 w 185497"/>
              <a:gd name="connsiteY1" fmla="*/ 9970 h 379659"/>
              <a:gd name="connsiteX2" fmla="*/ 185497 w 185497"/>
              <a:gd name="connsiteY2" fmla="*/ 189830 h 379659"/>
              <a:gd name="connsiteX3" fmla="*/ 327 w 185497"/>
              <a:gd name="connsiteY3" fmla="*/ 369690 h 379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9659">
                <a:moveTo>
                  <a:pt x="327" y="369690"/>
                </a:moveTo>
                <a:cubicBezTo>
                  <a:pt x="-584" y="285323"/>
                  <a:pt x="739" y="154727"/>
                  <a:pt x="327" y="9970"/>
                </a:cubicBezTo>
                <a:cubicBezTo>
                  <a:pt x="205" y="-33054"/>
                  <a:pt x="185497" y="69882"/>
                  <a:pt x="185497" y="189830"/>
                </a:cubicBezTo>
                <a:cubicBezTo>
                  <a:pt x="185497" y="309778"/>
                  <a:pt x="792" y="412711"/>
                  <a:pt x="327" y="369690"/>
                </a:cubicBezTo>
                <a:close/>
              </a:path>
            </a:pathLst>
          </a:custGeom>
          <a:solidFill>
            <a:srgbClr val="092D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963859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26556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ziękuję za uwag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ipsa 6"/>
          <p:cNvSpPr/>
          <p:nvPr userDrawn="1"/>
        </p:nvSpPr>
        <p:spPr>
          <a:xfrm>
            <a:off x="694555" y="375507"/>
            <a:ext cx="2221262" cy="4448000"/>
          </a:xfrm>
          <a:custGeom>
            <a:avLst/>
            <a:gdLst>
              <a:gd name="connsiteX0" fmla="*/ 0 w 370340"/>
              <a:gd name="connsiteY0" fmla="*/ 179860 h 359720"/>
              <a:gd name="connsiteX1" fmla="*/ 185170 w 370340"/>
              <a:gd name="connsiteY1" fmla="*/ 0 h 359720"/>
              <a:gd name="connsiteX2" fmla="*/ 370340 w 370340"/>
              <a:gd name="connsiteY2" fmla="*/ 179860 h 359720"/>
              <a:gd name="connsiteX3" fmla="*/ 185170 w 370340"/>
              <a:gd name="connsiteY3" fmla="*/ 359720 h 359720"/>
              <a:gd name="connsiteX4" fmla="*/ 0 w 370340"/>
              <a:gd name="connsiteY4" fmla="*/ 179860 h 359720"/>
              <a:gd name="connsiteX0" fmla="*/ 23147 w 208317"/>
              <a:gd name="connsiteY0" fmla="*/ 364719 h 369718"/>
              <a:gd name="connsiteX1" fmla="*/ 23147 w 208317"/>
              <a:gd name="connsiteY1" fmla="*/ 4999 h 369718"/>
              <a:gd name="connsiteX2" fmla="*/ 208317 w 208317"/>
              <a:gd name="connsiteY2" fmla="*/ 184859 h 369718"/>
              <a:gd name="connsiteX3" fmla="*/ 23147 w 208317"/>
              <a:gd name="connsiteY3" fmla="*/ 364719 h 369718"/>
              <a:gd name="connsiteX0" fmla="*/ 15013 w 200183"/>
              <a:gd name="connsiteY0" fmla="*/ 368470 h 373469"/>
              <a:gd name="connsiteX1" fmla="*/ 15013 w 200183"/>
              <a:gd name="connsiteY1" fmla="*/ 8750 h 373469"/>
              <a:gd name="connsiteX2" fmla="*/ 200183 w 200183"/>
              <a:gd name="connsiteY2" fmla="*/ 188610 h 373469"/>
              <a:gd name="connsiteX3" fmla="*/ 15013 w 200183"/>
              <a:gd name="connsiteY3" fmla="*/ 368470 h 373469"/>
              <a:gd name="connsiteX0" fmla="*/ 1883 w 187053"/>
              <a:gd name="connsiteY0" fmla="*/ 368470 h 377228"/>
              <a:gd name="connsiteX1" fmla="*/ 1883 w 187053"/>
              <a:gd name="connsiteY1" fmla="*/ 8750 h 377228"/>
              <a:gd name="connsiteX2" fmla="*/ 187053 w 187053"/>
              <a:gd name="connsiteY2" fmla="*/ 188610 h 377228"/>
              <a:gd name="connsiteX3" fmla="*/ 1883 w 187053"/>
              <a:gd name="connsiteY3" fmla="*/ 368470 h 377228"/>
              <a:gd name="connsiteX0" fmla="*/ 45 w 185215"/>
              <a:gd name="connsiteY0" fmla="*/ 368519 h 377277"/>
              <a:gd name="connsiteX1" fmla="*/ 45 w 185215"/>
              <a:gd name="connsiteY1" fmla="*/ 8799 h 377277"/>
              <a:gd name="connsiteX2" fmla="*/ 185215 w 185215"/>
              <a:gd name="connsiteY2" fmla="*/ 188659 h 377277"/>
              <a:gd name="connsiteX3" fmla="*/ 45 w 185215"/>
              <a:gd name="connsiteY3" fmla="*/ 368519 h 377277"/>
              <a:gd name="connsiteX0" fmla="*/ 327 w 185497"/>
              <a:gd name="connsiteY0" fmla="*/ 368519 h 377317"/>
              <a:gd name="connsiteX1" fmla="*/ 327 w 185497"/>
              <a:gd name="connsiteY1" fmla="*/ 8799 h 377317"/>
              <a:gd name="connsiteX2" fmla="*/ 185497 w 185497"/>
              <a:gd name="connsiteY2" fmla="*/ 188659 h 377317"/>
              <a:gd name="connsiteX3" fmla="*/ 327 w 185497"/>
              <a:gd name="connsiteY3" fmla="*/ 368519 h 377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5497" h="377317">
                <a:moveTo>
                  <a:pt x="327" y="368519"/>
                </a:moveTo>
                <a:cubicBezTo>
                  <a:pt x="-584" y="284152"/>
                  <a:pt x="739" y="153556"/>
                  <a:pt x="327" y="8799"/>
                </a:cubicBezTo>
                <a:cubicBezTo>
                  <a:pt x="205" y="-34225"/>
                  <a:pt x="185497" y="89325"/>
                  <a:pt x="185497" y="188659"/>
                </a:cubicBezTo>
                <a:cubicBezTo>
                  <a:pt x="185497" y="287993"/>
                  <a:pt x="792" y="411540"/>
                  <a:pt x="327" y="368519"/>
                </a:cubicBezTo>
                <a:close/>
              </a:path>
            </a:pathLst>
          </a:custGeom>
          <a:solidFill>
            <a:srgbClr val="092D74">
              <a:alpha val="1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cxnSp>
        <p:nvCxnSpPr>
          <p:cNvPr id="4" name="Łącznik prostoliniowy 5"/>
          <p:cNvCxnSpPr/>
          <p:nvPr userDrawn="1"/>
        </p:nvCxnSpPr>
        <p:spPr>
          <a:xfrm>
            <a:off x="3203848" y="2571750"/>
            <a:ext cx="5364596" cy="0"/>
          </a:xfrm>
          <a:prstGeom prst="line">
            <a:avLst/>
          </a:prstGeom>
          <a:ln w="19050">
            <a:solidFill>
              <a:srgbClr val="0037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Obraz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89" y="125335"/>
            <a:ext cx="2527961" cy="4890992"/>
          </a:xfrm>
          <a:prstGeom prst="rect">
            <a:avLst/>
          </a:prstGeom>
        </p:spPr>
      </p:pic>
      <p:sp>
        <p:nvSpPr>
          <p:cNvPr id="7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3095836" y="1966069"/>
            <a:ext cx="3875158" cy="461665"/>
          </a:xfrm>
        </p:spPr>
        <p:txBody>
          <a:bodyPr anchor="b" anchorCtr="0">
            <a:spAutoFit/>
          </a:bodyPr>
          <a:lstStyle>
            <a:lvl1pPr marL="0" indent="0" algn="l">
              <a:buNone/>
              <a:defRPr sz="24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/>
              <a:t>Dziękuję za uwagę</a:t>
            </a:r>
          </a:p>
        </p:txBody>
      </p:sp>
      <p:sp>
        <p:nvSpPr>
          <p:cNvPr id="8" name="Symbol zastępczy tekstu 9"/>
          <p:cNvSpPr>
            <a:spLocks noGrp="1"/>
          </p:cNvSpPr>
          <p:nvPr>
            <p:ph type="body" sz="quarter" idx="10" hasCustomPrompt="1"/>
          </p:nvPr>
        </p:nvSpPr>
        <p:spPr>
          <a:xfrm>
            <a:off x="3095836" y="2771762"/>
            <a:ext cx="3875158" cy="447815"/>
          </a:xfrm>
        </p:spPr>
        <p:txBody>
          <a:bodyPr>
            <a:spAutoFit/>
          </a:bodyPr>
          <a:lstStyle>
            <a:lvl1pPr>
              <a:defRPr sz="1050" b="0" baseline="0"/>
            </a:lvl1pPr>
            <a:lvl2pPr>
              <a:defRPr sz="1600" b="0"/>
            </a:lvl2pPr>
            <a:lvl3pPr>
              <a:defRPr sz="1600" b="0"/>
            </a:lvl3pPr>
            <a:lvl4pPr>
              <a:defRPr sz="1600" b="0"/>
            </a:lvl4pPr>
            <a:lvl5pPr>
              <a:defRPr sz="1600" b="0"/>
            </a:lvl5pPr>
          </a:lstStyle>
          <a:p>
            <a:pPr lvl="0"/>
            <a:r>
              <a:rPr lang="pl-PL" dirty="0"/>
              <a:t>Jan Kowalski</a:t>
            </a:r>
          </a:p>
          <a:p>
            <a:pPr lvl="0"/>
            <a:r>
              <a:rPr lang="pl-PL" dirty="0"/>
              <a:t>PGE Baltica Sp. z o.o. 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912260" y="1970283"/>
            <a:ext cx="1776709" cy="529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13598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6200" y="1582103"/>
            <a:ext cx="3520440" cy="1988582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27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0"/>
            <a:ext cx="3429000" cy="51435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375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3031270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85885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188316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10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0902490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6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468851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2266030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742314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 dirty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12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374993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iek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036466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8" name="Symbol zastępczy numeru slajdu 6"/>
          <p:cNvSpPr>
            <a:spLocks noGrp="1"/>
          </p:cNvSpPr>
          <p:nvPr>
            <p:ph type="sldNum" sz="quarter" idx="4"/>
          </p:nvPr>
        </p:nvSpPr>
        <p:spPr>
          <a:xfrm>
            <a:off x="333421" y="4890194"/>
            <a:ext cx="2133600" cy="253306"/>
          </a:xfrm>
          <a:prstGeom prst="rect">
            <a:avLst/>
          </a:prstGeom>
        </p:spPr>
        <p:txBody>
          <a:bodyPr/>
          <a:lstStyle>
            <a:lvl1pPr algn="l">
              <a:defRPr sz="1000">
                <a:solidFill>
                  <a:srgbClr val="002060"/>
                </a:solidFill>
              </a:defRPr>
            </a:lvl1pPr>
          </a:lstStyle>
          <a:p>
            <a:fld id="{BEF91EA0-6FBA-4517-995F-24EA77D9655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0" name="Symbol zastępczy numeru slajdu 4"/>
          <p:cNvSpPr txBox="1">
            <a:spLocks/>
          </p:cNvSpPr>
          <p:nvPr userDrawn="1"/>
        </p:nvSpPr>
        <p:spPr>
          <a:xfrm>
            <a:off x="6963035" y="46225"/>
            <a:ext cx="2133600" cy="17003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RONA</a:t>
            </a:r>
            <a:r>
              <a:rPr lang="pl-PL" sz="700" baseline="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pl-PL" sz="7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| </a:t>
            </a:r>
            <a:fld id="{BEF91EA0-6FBA-4517-995F-24EA77D96559}" type="slidenum">
              <a:rPr lang="pl-PL" sz="7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r"/>
              <a:t>‹#›</a:t>
            </a:fld>
            <a:endParaRPr lang="pl-PL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6059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73" r:id="rId14"/>
    <p:sldLayoutId id="2147483690" r:id="rId15"/>
    <p:sldLayoutId id="2147483777" r:id="rId16"/>
    <p:sldLayoutId id="2147483783" r:id="rId17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539552" y="195487"/>
            <a:ext cx="8064896" cy="39241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14" name="Symbol zastępczy tekstu 13"/>
          <p:cNvSpPr>
            <a:spLocks noGrp="1"/>
          </p:cNvSpPr>
          <p:nvPr>
            <p:ph type="body" idx="1"/>
          </p:nvPr>
        </p:nvSpPr>
        <p:spPr>
          <a:xfrm>
            <a:off x="539750" y="951571"/>
            <a:ext cx="8064699" cy="36430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/>
              <a:t>Pierwszy poziom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numeru slajdu 4"/>
          <p:cNvSpPr txBox="1">
            <a:spLocks/>
          </p:cNvSpPr>
          <p:nvPr userDrawn="1"/>
        </p:nvSpPr>
        <p:spPr>
          <a:xfrm>
            <a:off x="6963035" y="46225"/>
            <a:ext cx="2133600" cy="170035"/>
          </a:xfrm>
          <a:prstGeom prst="rect">
            <a:avLst/>
          </a:prstGeom>
          <a:solidFill>
            <a:schemeClr val="bg1"/>
          </a:solidFill>
        </p:spPr>
        <p:txBody>
          <a:bodyPr anchor="ctr"/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pl-PL" sz="700" dirty="0">
                <a:solidFill>
                  <a:schemeClr val="accent5"/>
                </a:solidFill>
              </a:rPr>
              <a:t>STRONA | </a:t>
            </a:r>
            <a:fld id="{BEF91EA0-6FBA-4517-995F-24EA77D96559}" type="slidenum">
              <a:rPr lang="pl-PL" sz="700" smtClean="0">
                <a:solidFill>
                  <a:schemeClr val="accent5"/>
                </a:solidFill>
              </a:rPr>
              <a:pPr algn="r"/>
              <a:t>‹#›</a:t>
            </a:fld>
            <a:endParaRPr lang="pl-PL" sz="7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123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4" r:id="rId5"/>
  </p:sldLayoutIdLst>
  <p:hf sldNum="0" hdr="0" dt="0"/>
  <p:txStyles>
    <p:titleStyle>
      <a:lvl1pPr algn="l" defTabSz="685800" rtl="0" eaLnBrk="1" latinLnBrk="0" hangingPunct="1">
        <a:spcBef>
          <a:spcPct val="0"/>
        </a:spcBef>
        <a:buNone/>
        <a:defRPr sz="21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6858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70000" marR="0" indent="-270000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>
          <a:schemeClr val="accent3"/>
        </a:buClr>
        <a:buSzTx/>
        <a:buFont typeface="Arial" panose="020B0604020202020204" pitchFamily="34" charset="0"/>
        <a:buChar char="•"/>
        <a:tabLst/>
        <a:defRPr sz="12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2pPr>
      <a:lvl3pPr marL="540000" marR="0" indent="-270000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05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3pPr>
      <a:lvl4pPr marL="810000" marR="0" indent="-270000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9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4pPr>
      <a:lvl5pPr marL="1080000" marR="0" indent="-270000" algn="l" defTabSz="685800" rtl="0" eaLnBrk="1" fontAlgn="auto" latinLnBrk="0" hangingPunct="1">
        <a:lnSpc>
          <a:spcPct val="100000"/>
        </a:lnSpc>
        <a:spcBef>
          <a:spcPts val="45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9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7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0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 rotWithShape="1">
          <a:blip r:embed="rId2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pic>
        <p:nvPicPr>
          <p:cNvPr id="3" name="Obraz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8024" y="987574"/>
            <a:ext cx="2427985" cy="1343486"/>
          </a:xfrm>
          <a:prstGeom prst="rect">
            <a:avLst/>
          </a:prstGeom>
        </p:spPr>
      </p:pic>
      <p:pic>
        <p:nvPicPr>
          <p:cNvPr id="4" name="Obraz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90" t="50057" r="3206" b="24275"/>
          <a:stretch/>
        </p:blipFill>
        <p:spPr>
          <a:xfrm>
            <a:off x="0" y="2510011"/>
            <a:ext cx="9144000" cy="2633489"/>
          </a:xfrm>
          <a:prstGeom prst="rect">
            <a:avLst/>
          </a:prstGeom>
        </p:spPr>
      </p:pic>
      <p:pic>
        <p:nvPicPr>
          <p:cNvPr id="5" name="Obraz 4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3" b="41223"/>
          <a:stretch/>
        </p:blipFill>
        <p:spPr>
          <a:xfrm>
            <a:off x="2678055" y="3147814"/>
            <a:ext cx="3787889" cy="1955686"/>
          </a:xfrm>
          <a:prstGeom prst="rect">
            <a:avLst/>
          </a:prstGeom>
        </p:spPr>
      </p:pic>
      <p:pic>
        <p:nvPicPr>
          <p:cNvPr id="6" name="Obraz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843558"/>
            <a:ext cx="2682642" cy="1640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054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/>
        </p:nvPicPr>
        <p:blipFill rotWithShape="1">
          <a:blip r:embed="rId3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3848" y="1577459"/>
            <a:ext cx="5220580" cy="1988582"/>
          </a:xfrm>
        </p:spPr>
        <p:txBody>
          <a:bodyPr vert="horz" lIns="91440" tIns="45720" rIns="91440" bIns="45720" rtlCol="0" anchor="ctr" anchorCtr="0">
            <a:noAutofit/>
          </a:bodyPr>
          <a:lstStyle/>
          <a:p>
            <a:pPr algn="l"/>
            <a:r>
              <a:rPr lang="en-GB" sz="2400">
                <a:solidFill>
                  <a:srgbClr val="092D74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GE as promoter of the development of the offshore industry in Polan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8000">
                <a:solidFill>
                  <a:srgbClr val="092D7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1</a:t>
            </a:r>
          </a:p>
        </p:txBody>
      </p:sp>
      <p:grpSp>
        <p:nvGrpSpPr>
          <p:cNvPr id="7" name="Grupa 6"/>
          <p:cNvGrpSpPr/>
          <p:nvPr/>
        </p:nvGrpSpPr>
        <p:grpSpPr>
          <a:xfrm>
            <a:off x="6560613" y="386943"/>
            <a:ext cx="2448829" cy="729553"/>
            <a:chOff x="6560613" y="386943"/>
            <a:chExt cx="2448829" cy="729553"/>
          </a:xfrm>
        </p:grpSpPr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0613" y="443857"/>
              <a:ext cx="1099881" cy="672639"/>
            </a:xfrm>
            <a:prstGeom prst="rect">
              <a:avLst/>
            </a:prstGeom>
          </p:spPr>
        </p:pic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04348" y="386943"/>
              <a:ext cx="1305094" cy="7221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8748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5"/>
          <p:cNvSpPr txBox="1"/>
          <p:nvPr/>
        </p:nvSpPr>
        <p:spPr>
          <a:xfrm>
            <a:off x="441901" y="1491630"/>
            <a:ext cx="8389242" cy="11651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392" tIns="45696" rIns="91392" bIns="45696" rtlCol="0">
            <a:spAutoFit/>
          </a:bodyPr>
          <a:lstStyle/>
          <a:p>
            <a:pPr marL="0" lvl="1" indent="-360000" algn="just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2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GE – leader of the energy transition process in Poland. </a:t>
            </a:r>
          </a:p>
          <a:p>
            <a:pPr marL="0" lvl="1" indent="-360000" algn="just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2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reating a local supply chain will provide a stimulus to the national economy.</a:t>
            </a:r>
          </a:p>
          <a:p>
            <a:pPr marL="0" lvl="1" indent="-360000" algn="just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2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ransparent information on the process and openness to feedback. </a:t>
            </a:r>
          </a:p>
          <a:p>
            <a:pPr marL="0" lvl="1" indent="-360000" algn="just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2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rtnership with </a:t>
            </a:r>
            <a:r>
              <a:rPr lang="en-GB" sz="1200" b="1" dirty="0" err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Ørsted</a:t>
            </a:r>
            <a:r>
              <a:rPr lang="en-GB" sz="12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5" name="pole tekstowe 4"/>
          <p:cNvSpPr txBox="1"/>
          <p:nvPr/>
        </p:nvSpPr>
        <p:spPr>
          <a:xfrm>
            <a:off x="425482" y="303259"/>
            <a:ext cx="82509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8841D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GE as promoter of the development </a:t>
            </a:r>
            <a:r>
              <a:rPr lang="en-GB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f the offshore industry </a:t>
            </a:r>
            <a:endParaRPr lang="pl-PL" dirty="0">
              <a:solidFill>
                <a:srgbClr val="092D7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in Poland</a:t>
            </a:r>
          </a:p>
        </p:txBody>
      </p:sp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049" y="290394"/>
            <a:ext cx="1305094" cy="72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38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5"/>
          <p:cNvSpPr txBox="1"/>
          <p:nvPr/>
        </p:nvSpPr>
        <p:spPr>
          <a:xfrm>
            <a:off x="356348" y="915566"/>
            <a:ext cx="8389242" cy="30285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392" tIns="45696" rIns="91392" bIns="45696" rtlCol="0">
            <a:spAutoFit/>
          </a:bodyPr>
          <a:lstStyle/>
          <a:p>
            <a:pPr marL="360000" lvl="1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1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irect beneficiaries of the OWF investments: </a:t>
            </a: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hipyard industry.</a:t>
            </a: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eel industry.</a:t>
            </a: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rt industry.</a:t>
            </a: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en-GB" sz="11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chnological and construction services as indirect beneficiaries:</a:t>
            </a: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en-GB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evices and materials. </a:t>
            </a: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en-GB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duction of components of the wind turbines.</a:t>
            </a:r>
          </a:p>
          <a:p>
            <a:pPr marL="360000" lvl="1" indent="-360000">
              <a:lnSpc>
                <a:spcPct val="114000"/>
              </a:lnSpc>
              <a:spcBef>
                <a:spcPts val="6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en-GB" sz="110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ther additional services necessary for the construction and exploitation, including: </a:t>
            </a: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en-GB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ject </a:t>
            </a:r>
            <a:r>
              <a:rPr lang="en-GB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works</a:t>
            </a:r>
            <a:r>
              <a:rPr lang="pl-PL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  <a:endParaRPr lang="en-GB" sz="1100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en-GB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bstantive works and </a:t>
            </a:r>
            <a:r>
              <a:rPr lang="en-GB" sz="1100" dirty="0" smtClean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xpertise's.  </a:t>
            </a:r>
            <a:endParaRPr lang="en-GB" sz="1100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817200" lvl="2" indent="-360000">
              <a:lnSpc>
                <a:spcPct val="114000"/>
              </a:lnSpc>
              <a:spcBef>
                <a:spcPts val="300"/>
              </a:spcBef>
              <a:buClr>
                <a:srgbClr val="9BBB59"/>
              </a:buClr>
              <a:buBlip>
                <a:blip r:embed="rId3"/>
              </a:buBlip>
              <a:defRPr/>
            </a:pPr>
            <a:r>
              <a:rPr lang="en-GB" sz="110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ertification and training. </a:t>
            </a:r>
          </a:p>
          <a:p>
            <a:pPr marL="360000" lvl="1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endParaRPr lang="pl-PL" sz="1200" b="1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pole tekstowe 4"/>
          <p:cNvSpPr txBox="1"/>
          <p:nvPr/>
        </p:nvSpPr>
        <p:spPr>
          <a:xfrm>
            <a:off x="425482" y="303259"/>
            <a:ext cx="82509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8841D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ffshore wind farms </a:t>
            </a:r>
            <a:r>
              <a:rPr lang="en-GB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– impact on the development </a:t>
            </a:r>
            <a:r>
              <a:rPr lang="pl-PL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pl-PL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en-GB" dirty="0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f key industries</a:t>
            </a:r>
          </a:p>
        </p:txBody>
      </p:sp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049" y="290394"/>
            <a:ext cx="1305094" cy="72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531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/>
        </p:nvPicPr>
        <p:blipFill rotWithShape="1">
          <a:blip r:embed="rId4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3848" y="1577459"/>
            <a:ext cx="5220580" cy="1988582"/>
          </a:xfrm>
        </p:spPr>
        <p:txBody>
          <a:bodyPr vert="horz" lIns="91440" tIns="45720" rIns="91440" bIns="45720" rtlCol="0" anchor="ctr" anchorCtr="0">
            <a:noAutofit/>
          </a:bodyPr>
          <a:lstStyle/>
          <a:p>
            <a:pPr algn="l"/>
            <a:r>
              <a:rPr lang="en-GB" sz="2400">
                <a:solidFill>
                  <a:srgbClr val="092D74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Potential of the offshore wind energy in Europe and Polan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8000">
                <a:solidFill>
                  <a:srgbClr val="092D7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2</a:t>
            </a:r>
          </a:p>
        </p:txBody>
      </p:sp>
      <p:grpSp>
        <p:nvGrpSpPr>
          <p:cNvPr id="7" name="Grupa 6"/>
          <p:cNvGrpSpPr/>
          <p:nvPr/>
        </p:nvGrpSpPr>
        <p:grpSpPr>
          <a:xfrm>
            <a:off x="6560613" y="386943"/>
            <a:ext cx="2448829" cy="729553"/>
            <a:chOff x="6560613" y="386943"/>
            <a:chExt cx="2448829" cy="729553"/>
          </a:xfrm>
        </p:grpSpPr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0613" y="443857"/>
              <a:ext cx="1099881" cy="672639"/>
            </a:xfrm>
            <a:prstGeom prst="rect">
              <a:avLst/>
            </a:prstGeom>
          </p:spPr>
        </p:pic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04348" y="386943"/>
              <a:ext cx="1305094" cy="7221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2930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5"/>
          <p:cNvSpPr txBox="1"/>
          <p:nvPr/>
        </p:nvSpPr>
        <p:spPr>
          <a:xfrm>
            <a:off x="503548" y="915566"/>
            <a:ext cx="8389242" cy="20533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392" tIns="45696" rIns="91392" bIns="45696" rtlCol="0">
            <a:spAutoFit/>
          </a:bodyPr>
          <a:lstStyle/>
          <a:p>
            <a:pPr marL="0" lvl="1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defRPr/>
            </a:pPr>
            <a:endParaRPr lang="pl-PL" sz="1050" b="1" dirty="0">
              <a:solidFill>
                <a:srgbClr val="EF7F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ffshore wind in Europe.</a:t>
            </a:r>
          </a:p>
          <a:p>
            <a:pPr marL="914400" lvl="3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&gt;23 GW installed capacity</a:t>
            </a:r>
          </a:p>
          <a:p>
            <a:pPr marL="914400" lvl="3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vestments in 2020 – €26 billion.</a:t>
            </a:r>
          </a:p>
          <a:p>
            <a:pPr marL="360000" lvl="1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ritish experience in establishing the offshore wind supply chain.</a:t>
            </a:r>
          </a:p>
          <a:p>
            <a:pPr marL="360000" lvl="1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 b="1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tential of the Baltic Sea.</a:t>
            </a: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ven 28 GW installed capacity.</a:t>
            </a:r>
          </a:p>
          <a:p>
            <a:pPr marL="817200" lvl="2" indent="-360000">
              <a:lnSpc>
                <a:spcPct val="114000"/>
              </a:lnSpc>
              <a:spcBef>
                <a:spcPts val="5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rojects implemented by PGE up to 2030 – investments in the order of PLN 40-50 billion.</a:t>
            </a:r>
          </a:p>
        </p:txBody>
      </p:sp>
      <p:sp>
        <p:nvSpPr>
          <p:cNvPr id="5" name="pole tekstowe 4"/>
          <p:cNvSpPr txBox="1"/>
          <p:nvPr/>
        </p:nvSpPr>
        <p:spPr>
          <a:xfrm>
            <a:off x="425482" y="303259"/>
            <a:ext cx="825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rgbClr val="F8841D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Offshore wind industry in </a:t>
            </a:r>
            <a:r>
              <a:rPr lang="en-GB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urope</a:t>
            </a:r>
          </a:p>
        </p:txBody>
      </p:sp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049" y="290394"/>
            <a:ext cx="1305094" cy="72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320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az 5"/>
          <p:cNvPicPr>
            <a:picLocks noChangeAspect="1"/>
          </p:cNvPicPr>
          <p:nvPr/>
        </p:nvPicPr>
        <p:blipFill rotWithShape="1">
          <a:blip r:embed="rId4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3848" y="1577459"/>
            <a:ext cx="5220580" cy="1988582"/>
          </a:xfrm>
        </p:spPr>
        <p:txBody>
          <a:bodyPr vert="horz" lIns="91440" tIns="45720" rIns="91440" bIns="45720" rtlCol="0" anchor="ctr" anchorCtr="0">
            <a:noAutofit/>
          </a:bodyPr>
          <a:lstStyle/>
          <a:p>
            <a:pPr algn="l"/>
            <a:r>
              <a:rPr lang="en-GB" sz="2400">
                <a:solidFill>
                  <a:srgbClr val="092D74"/>
                </a:soli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rPr>
              <a:t>Stable framework for develop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8000">
                <a:solidFill>
                  <a:srgbClr val="092D74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r>
          </a:p>
        </p:txBody>
      </p:sp>
      <p:grpSp>
        <p:nvGrpSpPr>
          <p:cNvPr id="7" name="Grupa 6"/>
          <p:cNvGrpSpPr/>
          <p:nvPr/>
        </p:nvGrpSpPr>
        <p:grpSpPr>
          <a:xfrm>
            <a:off x="6560613" y="386943"/>
            <a:ext cx="2448829" cy="729553"/>
            <a:chOff x="6560613" y="386943"/>
            <a:chExt cx="2448829" cy="729553"/>
          </a:xfrm>
        </p:grpSpPr>
        <p:pic>
          <p:nvPicPr>
            <p:cNvPr id="8" name="Obraz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60613" y="443857"/>
              <a:ext cx="1099881" cy="672639"/>
            </a:xfrm>
            <a:prstGeom prst="rect">
              <a:avLst/>
            </a:prstGeom>
          </p:spPr>
        </p:pic>
        <p:pic>
          <p:nvPicPr>
            <p:cNvPr id="9" name="Obraz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04348" y="386943"/>
              <a:ext cx="1305094" cy="7221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298693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5"/>
          <p:cNvSpPr txBox="1"/>
          <p:nvPr/>
        </p:nvSpPr>
        <p:spPr>
          <a:xfrm>
            <a:off x="503548" y="1203598"/>
            <a:ext cx="8389242" cy="1582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392" tIns="45696" rIns="91392" bIns="45696" rtlCol="0">
            <a:spAutoFit/>
          </a:bodyPr>
          <a:lstStyle/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 strategy for the offshore sector - 300 GW of power in offshore wind farms by 2050.</a:t>
            </a: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ergy Policy of Poland until 2040</a:t>
            </a:r>
            <a:r>
              <a:rPr lang="pl-PL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:</a:t>
            </a:r>
            <a:endParaRPr lang="en-GB" sz="1050" b="1" dirty="0">
              <a:solidFill>
                <a:srgbClr val="00206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914400" lvl="3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ffshore wind farms as a key technology and strategic project of the Polish energy policy</a:t>
            </a:r>
          </a:p>
          <a:p>
            <a:pPr marL="914400" lvl="3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stalled OWF capacity 5.9 GW by 2030, up to 11 GW in 2040  </a:t>
            </a: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ct on promoting the generation of electricity in the offshore wind farms.</a:t>
            </a:r>
          </a:p>
          <a:p>
            <a:pPr marL="0" lvl="1" indent="-360000">
              <a:lnSpc>
                <a:spcPct val="114000"/>
              </a:lnSpc>
              <a:spcBef>
                <a:spcPts val="600"/>
              </a:spcBef>
              <a:buClr>
                <a:schemeClr val="accent3"/>
              </a:buClr>
              <a:buBlip>
                <a:blip r:embed="rId3"/>
              </a:buBlip>
              <a:defRPr/>
            </a:pPr>
            <a:r>
              <a:rPr lang="en-GB" sz="1050" b="1" dirty="0">
                <a:solidFill>
                  <a:srgbClr val="00206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ropean Commission approved the Polish support programme until 2030 with a budget of EUR 22.5 billion.</a:t>
            </a:r>
          </a:p>
        </p:txBody>
      </p:sp>
      <p:sp>
        <p:nvSpPr>
          <p:cNvPr id="5" name="pole tekstowe 4"/>
          <p:cNvSpPr txBox="1"/>
          <p:nvPr/>
        </p:nvSpPr>
        <p:spPr>
          <a:xfrm>
            <a:off x="425482" y="303259"/>
            <a:ext cx="82509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>
                <a:solidFill>
                  <a:srgbClr val="F8841D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le framework for the development of </a:t>
            </a:r>
            <a:r>
              <a:rPr lang="en-GB">
                <a:solidFill>
                  <a:srgbClr val="092D7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the OWF industry</a:t>
            </a:r>
          </a:p>
        </p:txBody>
      </p:sp>
      <p:pic>
        <p:nvPicPr>
          <p:cNvPr id="8" name="Obraz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6049" y="290394"/>
            <a:ext cx="1305094" cy="722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692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az 1"/>
          <p:cNvPicPr>
            <a:picLocks noChangeAspect="1"/>
          </p:cNvPicPr>
          <p:nvPr/>
        </p:nvPicPr>
        <p:blipFill rotWithShape="1">
          <a:blip r:embed="rId2"/>
          <a:srcRect l="15513" t="13310" r="20957" b="12327"/>
          <a:stretch/>
        </p:blipFill>
        <p:spPr>
          <a:xfrm>
            <a:off x="0" y="1166"/>
            <a:ext cx="9144000" cy="5143500"/>
          </a:xfrm>
          <a:prstGeom prst="rect">
            <a:avLst/>
          </a:prstGeom>
        </p:spPr>
      </p:pic>
      <p:pic>
        <p:nvPicPr>
          <p:cNvPr id="3" name="Obraz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03" t="49643" r="15270" b="413"/>
          <a:stretch/>
        </p:blipFill>
        <p:spPr>
          <a:xfrm>
            <a:off x="6516216" y="0"/>
            <a:ext cx="2664296" cy="5164038"/>
          </a:xfrm>
          <a:prstGeom prst="rect">
            <a:avLst/>
          </a:prstGeom>
        </p:spPr>
      </p:pic>
      <p:pic>
        <p:nvPicPr>
          <p:cNvPr id="4" name="Symbol zastępczy obrazu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37" r="11337"/>
          <a:stretch>
            <a:fillRect/>
          </a:stretch>
        </p:blipFill>
        <p:spPr>
          <a:xfrm>
            <a:off x="6677222" y="430569"/>
            <a:ext cx="866665" cy="680950"/>
          </a:xfrm>
          <a:prstGeom prst="rect">
            <a:avLst/>
          </a:prstGeom>
        </p:spPr>
      </p:pic>
      <p:pic>
        <p:nvPicPr>
          <p:cNvPr id="5" name="Obraz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0545" y="209520"/>
            <a:ext cx="1779967" cy="1221057"/>
          </a:xfrm>
          <a:prstGeom prst="rect">
            <a:avLst/>
          </a:prstGeom>
        </p:spPr>
      </p:pic>
      <p:pic>
        <p:nvPicPr>
          <p:cNvPr id="6" name="Obraz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83" b="41223"/>
          <a:stretch/>
        </p:blipFill>
        <p:spPr>
          <a:xfrm>
            <a:off x="6738841" y="1826940"/>
            <a:ext cx="2297655" cy="1186278"/>
          </a:xfrm>
          <a:prstGeom prst="rect">
            <a:avLst/>
          </a:prstGeom>
        </p:spPr>
      </p:pic>
      <p:sp>
        <p:nvSpPr>
          <p:cNvPr id="7" name="Podtytuł 1"/>
          <p:cNvSpPr txBox="1">
            <a:spLocks/>
          </p:cNvSpPr>
          <p:nvPr/>
        </p:nvSpPr>
        <p:spPr>
          <a:xfrm>
            <a:off x="1664712" y="2132861"/>
            <a:ext cx="4968552" cy="880109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1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8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>
                <a:latin typeface="Segoe UI Semibold" panose="020B0702040204020203" pitchFamily="34" charset="0"/>
                <a:cs typeface="Segoe UI Semibold" panose="020B0702040204020203" pitchFamily="34" charset="0"/>
              </a:rPr>
              <a:t>Thank you for your attention</a:t>
            </a:r>
          </a:p>
        </p:txBody>
      </p:sp>
      <p:sp>
        <p:nvSpPr>
          <p:cNvPr id="8" name="Symbol zastępczy tekstu 30"/>
          <p:cNvSpPr txBox="1">
            <a:spLocks/>
          </p:cNvSpPr>
          <p:nvPr/>
        </p:nvSpPr>
        <p:spPr>
          <a:xfrm>
            <a:off x="6732240" y="4659982"/>
            <a:ext cx="2098903" cy="216024"/>
          </a:xfrm>
          <a:prstGeom prst="rect">
            <a:avLst/>
          </a:prstGeom>
        </p:spPr>
        <p:txBody>
          <a:bodyPr/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3"/>
              </a:buClr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5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1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80000" marR="0" indent="-270000" algn="l" defTabSz="6858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900" kern="120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>
                    <a:lumMod val="6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arsaw, 18 June 2021</a:t>
            </a:r>
          </a:p>
        </p:txBody>
      </p:sp>
    </p:spTree>
    <p:extLst>
      <p:ext uri="{BB962C8B-B14F-4D97-AF65-F5344CB8AC3E}">
        <p14:creationId xmlns:p14="http://schemas.microsoft.com/office/powerpoint/2010/main" val="40431633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_rQu0.S_.YOtgcGUVf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Kh8ZUCRHeSLJni6jGKjw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92D74"/>
        </a:solidFill>
        <a:ln>
          <a:noFill/>
        </a:ln>
      </a:spPr>
      <a:bodyPr rtlCol="0" anchor="ctr"/>
      <a:lstStyle>
        <a:defPPr algn="ctr">
          <a:defRPr b="1" dirty="0">
            <a:solidFill>
              <a:schemeClr val="bg1"/>
            </a:solidFill>
            <a:latin typeface="Segoe UI Semibold" panose="020B07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Motyw PGE">
  <a:themeElements>
    <a:clrScheme name="PGE">
      <a:dk1>
        <a:srgbClr val="092D74"/>
      </a:dk1>
      <a:lt1>
        <a:srgbClr val="FFFFFF"/>
      </a:lt1>
      <a:dk2>
        <a:srgbClr val="092D74"/>
      </a:dk2>
      <a:lt2>
        <a:srgbClr val="FFFFFF"/>
      </a:lt2>
      <a:accent1>
        <a:srgbClr val="092D74"/>
      </a:accent1>
      <a:accent2>
        <a:srgbClr val="E60007"/>
      </a:accent2>
      <a:accent3>
        <a:srgbClr val="EF7F00"/>
      </a:accent3>
      <a:accent4>
        <a:srgbClr val="C4C5CB"/>
      </a:accent4>
      <a:accent5>
        <a:srgbClr val="98959F"/>
      </a:accent5>
      <a:accent6>
        <a:srgbClr val="70727B"/>
      </a:accent6>
      <a:hlink>
        <a:srgbClr val="092D74"/>
      </a:hlink>
      <a:folHlink>
        <a:srgbClr val="98959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tyw PGE" id="{1FE375A6-A6D4-403D-AB81-2F4A708604D9}" vid="{8FCE2882-2099-42A1-8776-04AFC2176AF9}"/>
    </a:ext>
  </a:extLst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23DA9415885724E891E6DC8A9C6DBFC" ma:contentTypeVersion="6" ma:contentTypeDescription="Utwórz nowy dokument." ma:contentTypeScope="" ma:versionID="46d1f870fbdd42b413df2700d913c7ef">
  <xsd:schema xmlns:xsd="http://www.w3.org/2001/XMLSchema" xmlns:xs="http://www.w3.org/2001/XMLSchema" xmlns:p="http://schemas.microsoft.com/office/2006/metadata/properties" xmlns:ns2="f56d7491-50e7-4cdf-94e3-84547222eb61" targetNamespace="http://schemas.microsoft.com/office/2006/metadata/properties" ma:root="true" ma:fieldsID="3b11ab1442f14a8fe7bea280a3452f87" ns2:_="">
    <xsd:import namespace="f56d7491-50e7-4cdf-94e3-84547222eb61"/>
    <xsd:element name="properties">
      <xsd:complexType>
        <xsd:sequence>
          <xsd:element name="documentManagement">
            <xsd:complexType>
              <xsd:all>
                <xsd:element ref="ns2:Rodzaj" minOccurs="0"/>
                <xsd:element ref="ns2:Tagi" minOccurs="0"/>
                <xsd:element ref="ns2:Data" minOccurs="0"/>
                <xsd:element ref="ns2:Auto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6d7491-50e7-4cdf-94e3-84547222eb61" elementFormDefault="qualified">
    <xsd:import namespace="http://schemas.microsoft.com/office/2006/documentManagement/types"/>
    <xsd:import namespace="http://schemas.microsoft.com/office/infopath/2007/PartnerControls"/>
    <xsd:element name="Rodzaj" ma:index="8" nillable="true" ma:displayName="Rodzaj" ma:default="Prezentacja" ma:format="Dropdown" ma:internalName="Rodzaj">
      <xsd:simpleType>
        <xsd:restriction base="dms:Choice">
          <xsd:enumeration value="Prezentacja"/>
          <xsd:enumeration value="Raport"/>
          <xsd:enumeration value="Opracowanie"/>
          <xsd:enumeration value="Standard"/>
          <xsd:enumeration value="Film"/>
          <xsd:enumeration value="Zdjęcie"/>
        </xsd:restriction>
      </xsd:simpleType>
    </xsd:element>
    <xsd:element name="Tagi" ma:index="9" nillable="true" ma:displayName="Tagi" ma:list="{ed1ef93a-433c-487f-b8a0-a28d37f94f7d}" ma:internalName="Tagi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ata" ma:index="10" nillable="true" ma:displayName="Data" ma:format="DateOnly" ma:internalName="Data">
      <xsd:simpleType>
        <xsd:restriction base="dms:DateTime"/>
      </xsd:simpleType>
    </xsd:element>
    <xsd:element name="Autor" ma:index="11" nillable="true" ma:displayName="Autor" ma:internalName="Autor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odzaj xmlns="f56d7491-50e7-4cdf-94e3-84547222eb61">Prezentacja</Rodzaj>
    <Autor xmlns="f56d7491-50e7-4cdf-94e3-84547222eb61">Zaspół PGE Baltica</Autor>
    <Tagi xmlns="f56d7491-50e7-4cdf-94e3-84547222eb61">
      <Value>2</Value>
      <Value>5</Value>
    </Tagi>
    <Data xmlns="f56d7491-50e7-4cdf-94e3-84547222eb61">2021-03-10T23:00:00+00:00</Data>
  </documentManagement>
</p:properties>
</file>

<file path=customXml/itemProps1.xml><?xml version="1.0" encoding="utf-8"?>
<ds:datastoreItem xmlns:ds="http://schemas.openxmlformats.org/officeDocument/2006/customXml" ds:itemID="{9C26FF37-61BF-459A-AE61-D43AE34AA0D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6d7491-50e7-4cdf-94e3-84547222eb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4A9EE71-3700-47A7-90D2-E1B8D9C3C86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B6F360B-4C47-4631-AD5E-9D94A3C182DA}">
  <ds:schemaRefs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f56d7491-50e7-4cdf-94e3-84547222eb61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4</Words>
  <Application>Microsoft Office PowerPoint</Application>
  <PresentationFormat>Pokaz na ekranie (16:9)</PresentationFormat>
  <Paragraphs>49</Paragraphs>
  <Slides>9</Slides>
  <Notes>7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9</vt:i4>
      </vt:variant>
    </vt:vector>
  </HeadingPairs>
  <TitlesOfParts>
    <vt:vector size="16" baseType="lpstr">
      <vt:lpstr>Arial</vt:lpstr>
      <vt:lpstr>Calibri</vt:lpstr>
      <vt:lpstr>Segoe UI Light</vt:lpstr>
      <vt:lpstr>Segoe UI Semibold</vt:lpstr>
      <vt:lpstr>Motyw pakietu Office</vt:lpstr>
      <vt:lpstr>Motyw PGE</vt:lpstr>
      <vt:lpstr>think-cell Slide</vt:lpstr>
      <vt:lpstr>Prezentacja programu PowerPoint</vt:lpstr>
      <vt:lpstr>PGE as promoter of the development of the offshore industry in Poland</vt:lpstr>
      <vt:lpstr>Prezentacja programu PowerPoint</vt:lpstr>
      <vt:lpstr>Prezentacja programu PowerPoint</vt:lpstr>
      <vt:lpstr>Potential of the offshore wind energy in Europe and Poland</vt:lpstr>
      <vt:lpstr>Prezentacja programu PowerPoint</vt:lpstr>
      <vt:lpstr>Stable framework for development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10-16T10:26:48Z</dcterms:created>
  <dcterms:modified xsi:type="dcterms:W3CDTF">2021-06-17T12:08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3DA9415885724E891E6DC8A9C6DBFC</vt:lpwstr>
  </property>
  <property fmtid="{D5CDD505-2E9C-101B-9397-08002B2CF9AE}" pid="3" name="_NewReviewCycle">
    <vt:lpwstr/>
  </property>
</Properties>
</file>